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sldIdLst>
    <p:sldId id="5271" r:id="rId3"/>
    <p:sldId id="256" r:id="rId4"/>
    <p:sldId id="5272" r:id="rId5"/>
    <p:sldId id="5275" r:id="rId6"/>
    <p:sldId id="5274" r:id="rId7"/>
    <p:sldId id="5276" r:id="rId8"/>
  </p:sldIdLst>
  <p:sldSz cx="18288000" cy="10287000"/>
  <p:notesSz cx="6858000" cy="9144000"/>
  <p:embeddedFontLst>
    <p:embeddedFont>
      <p:font typeface="DM Sans 1" panose="020B0604020202020204" charset="0"/>
      <p:regular r:id="rId9"/>
    </p:embeddedFont>
    <p:embeddedFont>
      <p:font typeface="DM Sans 2" panose="020B0604020202020204" charset="0"/>
      <p:regular r:id="rId10"/>
    </p:embeddedFont>
    <p:embeddedFont>
      <p:font typeface="DM Sans 2 Bold" panose="020B0604020202020204" charset="0"/>
      <p:regular r:id="rId11"/>
    </p:embeddedFont>
    <p:embeddedFont>
      <p:font typeface="Open Sans Bold" panose="020B0806030504020204" charset="0"/>
      <p:regular r:id="rId1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75" d="100"/>
          <a:sy n="75" d="100"/>
        </p:scale>
        <p:origin x="474" y="-22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font" Target="fonts/font4.fntdata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3.fntdata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font" Target="fonts/font2.fntdata"/><Relationship Id="rId4" Type="http://schemas.openxmlformats.org/officeDocument/2006/relationships/slide" Target="slides/slide2.xml"/><Relationship Id="rId9" Type="http://schemas.openxmlformats.org/officeDocument/2006/relationships/font" Target="fonts/font1.fntdata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1AA51-D695-2B46-875E-A953EB3D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C9AFAD-C49B-1040-8FA0-79041CCF4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ahmenstrategie 2021 - Name Referent*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C27DF7-E53B-E240-9C62-AF038C0D7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</p:spTree>
    <p:extLst>
      <p:ext uri="{BB962C8B-B14F-4D97-AF65-F5344CB8AC3E}">
        <p14:creationId xmlns:p14="http://schemas.microsoft.com/office/powerpoint/2010/main" val="35790340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30659CD-7A28-F14F-BAB7-0F132D13F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174564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30659CD-7A28-F14F-BAB7-0F132D13F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1190813C-06BF-6846-9CB7-4CD4AD461D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47466" y="1206451"/>
            <a:ext cx="15060705" cy="847164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4CBDDB2-B78A-FF4C-3E2A-AEF6AE37A61F}"/>
              </a:ext>
            </a:extLst>
          </p:cNvPr>
          <p:cNvSpPr/>
          <p:nvPr userDrawn="1"/>
        </p:nvSpPr>
        <p:spPr>
          <a:xfrm>
            <a:off x="-1" y="-53847"/>
            <a:ext cx="11981330" cy="103408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5BB7336-83F4-7FC2-779A-5B1B1B1794E4}"/>
              </a:ext>
            </a:extLst>
          </p:cNvPr>
          <p:cNvSpPr/>
          <p:nvPr userDrawn="1"/>
        </p:nvSpPr>
        <p:spPr>
          <a:xfrm>
            <a:off x="6306671" y="-53847"/>
            <a:ext cx="11981330" cy="17280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E10D22B-68B3-78A7-1DA1-0F1AB0EF97A2}"/>
              </a:ext>
            </a:extLst>
          </p:cNvPr>
          <p:cNvSpPr/>
          <p:nvPr userDrawn="1"/>
        </p:nvSpPr>
        <p:spPr>
          <a:xfrm>
            <a:off x="6326840" y="9110805"/>
            <a:ext cx="11981330" cy="12300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1148640139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2E87808-D944-C24C-B300-BC465CFA3D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E75C6CD-2F35-EEB1-EE0C-D3691D4D1B4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803605875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1293384-A569-9E4E-9B48-7F81BCC4D2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6FFE28A-7E72-424D-1B01-AE7785EA7A6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3940032393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2512501494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5D63B19-E5A2-80FB-D935-110B00C30C17}"/>
              </a:ext>
            </a:extLst>
          </p:cNvPr>
          <p:cNvGrpSpPr/>
          <p:nvPr userDrawn="1"/>
        </p:nvGrpSpPr>
        <p:grpSpPr>
          <a:xfrm>
            <a:off x="997528" y="2541514"/>
            <a:ext cx="16292945" cy="7305206"/>
            <a:chOff x="1439101" y="2020771"/>
            <a:chExt cx="7829277" cy="4547632"/>
          </a:xfrm>
        </p:grpSpPr>
        <p:sp>
          <p:nvSpPr>
            <p:cNvPr id="3" name="Inhaltsplatzhalter 1">
              <a:extLst>
                <a:ext uri="{FF2B5EF4-FFF2-40B4-BE49-F238E27FC236}">
                  <a16:creationId xmlns:a16="http://schemas.microsoft.com/office/drawing/2014/main" id="{F72A9BC4-6929-0BDF-EA8C-9E3A75BE198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2020771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5400"/>
            </a:p>
          </p:txBody>
        </p:sp>
        <p:sp>
          <p:nvSpPr>
            <p:cNvPr id="6" name="Inhaltsplatzhalter 1">
              <a:extLst>
                <a:ext uri="{FF2B5EF4-FFF2-40B4-BE49-F238E27FC236}">
                  <a16:creationId xmlns:a16="http://schemas.microsoft.com/office/drawing/2014/main" id="{62B87217-F7A0-EB1E-3347-B18516D55043}"/>
                </a:ext>
              </a:extLst>
            </p:cNvPr>
            <p:cNvSpPr txBox="1">
              <a:spLocks/>
            </p:cNvSpPr>
            <p:nvPr/>
          </p:nvSpPr>
          <p:spPr>
            <a:xfrm>
              <a:off x="5559545" y="2020771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>
                <a:latin typeface="Arial"/>
                <a:cs typeface="Arial"/>
              </a:endParaRPr>
            </a:p>
          </p:txBody>
        </p:sp>
        <p:sp>
          <p:nvSpPr>
            <p:cNvPr id="7" name="Inhaltsplatzhalter 1">
              <a:extLst>
                <a:ext uri="{FF2B5EF4-FFF2-40B4-BE49-F238E27FC236}">
                  <a16:creationId xmlns:a16="http://schemas.microsoft.com/office/drawing/2014/main" id="{40AB41A7-A5EF-9F23-D3EA-96544DABE56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4400845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 u="sng">
                <a:latin typeface="Arial"/>
                <a:cs typeface="Arial"/>
              </a:endParaRPr>
            </a:p>
          </p:txBody>
        </p:sp>
        <p:sp>
          <p:nvSpPr>
            <p:cNvPr id="8" name="Inhaltsplatzhalter 1">
              <a:extLst>
                <a:ext uri="{FF2B5EF4-FFF2-40B4-BE49-F238E27FC236}">
                  <a16:creationId xmlns:a16="http://schemas.microsoft.com/office/drawing/2014/main" id="{67E2A3B7-58EB-4458-3B10-90DE99356365}"/>
                </a:ext>
              </a:extLst>
            </p:cNvPr>
            <p:cNvSpPr txBox="1">
              <a:spLocks/>
            </p:cNvSpPr>
            <p:nvPr/>
          </p:nvSpPr>
          <p:spPr>
            <a:xfrm>
              <a:off x="5559544" y="4400845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750"/>
                </a:spcBef>
                <a:buFont typeface="Wingdings" pitchFamily="2" charset="2"/>
                <a:buNone/>
              </a:pPr>
              <a:endParaRPr lang="de-DE" sz="1800">
                <a:latin typeface="Arial"/>
                <a:cs typeface="Arial"/>
              </a:endParaRPr>
            </a:p>
          </p:txBody>
        </p:sp>
      </p:grpSp>
      <p:sp>
        <p:nvSpPr>
          <p:cNvPr id="9" name="Rechteck: abgerundete Ecken 3">
            <a:extLst>
              <a:ext uri="{FF2B5EF4-FFF2-40B4-BE49-F238E27FC236}">
                <a16:creationId xmlns:a16="http://schemas.microsoft.com/office/drawing/2014/main" id="{3A053A6A-0EAA-04DC-ABC7-5EED6FB00C20}"/>
              </a:ext>
            </a:extLst>
          </p:cNvPr>
          <p:cNvSpPr/>
          <p:nvPr userDrawn="1"/>
        </p:nvSpPr>
        <p:spPr>
          <a:xfrm rot="16200000">
            <a:off x="-517959" y="3312495"/>
            <a:ext cx="2546430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Sinn / Zweck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0" name="Rechteck: abgerundete Ecken 4">
            <a:extLst>
              <a:ext uri="{FF2B5EF4-FFF2-40B4-BE49-F238E27FC236}">
                <a16:creationId xmlns:a16="http://schemas.microsoft.com/office/drawing/2014/main" id="{F0CCB30F-CB06-C598-7853-9521CC08AD88}"/>
              </a:ext>
            </a:extLst>
          </p:cNvPr>
          <p:cNvSpPr/>
          <p:nvPr userDrawn="1"/>
        </p:nvSpPr>
        <p:spPr>
          <a:xfrm rot="5400000">
            <a:off x="15746195" y="3908704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Personen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1" name="Rechteck: abgerundete Ecken 9">
            <a:extLst>
              <a:ext uri="{FF2B5EF4-FFF2-40B4-BE49-F238E27FC236}">
                <a16:creationId xmlns:a16="http://schemas.microsoft.com/office/drawing/2014/main" id="{4FA47FA2-6996-50EA-9538-F5AB64FCD3C0}"/>
              </a:ext>
            </a:extLst>
          </p:cNvPr>
          <p:cNvSpPr/>
          <p:nvPr userDrawn="1"/>
        </p:nvSpPr>
        <p:spPr>
          <a:xfrm rot="16200000">
            <a:off x="-1562902" y="7428405"/>
            <a:ext cx="4611698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Meilensteine</a:t>
            </a:r>
            <a:endParaRPr lang="de-DE" sz="2700">
              <a:solidFill>
                <a:schemeClr val="bg2"/>
              </a:solidFill>
            </a:endParaRPr>
          </a:p>
        </p:txBody>
      </p:sp>
      <p:sp>
        <p:nvSpPr>
          <p:cNvPr id="12" name="Rechteck: abgerundete Ecken 3">
            <a:extLst>
              <a:ext uri="{FF2B5EF4-FFF2-40B4-BE49-F238E27FC236}">
                <a16:creationId xmlns:a16="http://schemas.microsoft.com/office/drawing/2014/main" id="{7496811C-2CE1-103A-D10B-12B52646780A}"/>
              </a:ext>
            </a:extLst>
          </p:cNvPr>
          <p:cNvSpPr/>
          <p:nvPr userDrawn="1"/>
        </p:nvSpPr>
        <p:spPr>
          <a:xfrm rot="16200000">
            <a:off x="-108177" y="915967"/>
            <a:ext cx="1024341" cy="355112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1500">
                <a:solidFill>
                  <a:schemeClr val="bg2"/>
                </a:solidFill>
                <a:latin typeface="Arial"/>
                <a:cs typeface="Arial"/>
              </a:rPr>
              <a:t>Auftrag</a:t>
            </a:r>
            <a:endParaRPr lang="de-DE" sz="15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3" name="Rechteck: abgerundete Ecken 3">
            <a:extLst>
              <a:ext uri="{FF2B5EF4-FFF2-40B4-BE49-F238E27FC236}">
                <a16:creationId xmlns:a16="http://schemas.microsoft.com/office/drawing/2014/main" id="{02C7822C-199B-EC64-C87A-B12A5C5A31D7}"/>
              </a:ext>
            </a:extLst>
          </p:cNvPr>
          <p:cNvSpPr/>
          <p:nvPr userDrawn="1"/>
        </p:nvSpPr>
        <p:spPr>
          <a:xfrm>
            <a:off x="581550" y="477803"/>
            <a:ext cx="3170646" cy="1262013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endParaRPr lang="de-DE" sz="99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4" name="Rechteck: abgerundete Ecken 3">
            <a:extLst>
              <a:ext uri="{FF2B5EF4-FFF2-40B4-BE49-F238E27FC236}">
                <a16:creationId xmlns:a16="http://schemas.microsoft.com/office/drawing/2014/main" id="{074EFF40-F5F0-915B-357F-9B981BF560B5}"/>
              </a:ext>
            </a:extLst>
          </p:cNvPr>
          <p:cNvSpPr/>
          <p:nvPr userDrawn="1"/>
        </p:nvSpPr>
        <p:spPr>
          <a:xfrm>
            <a:off x="3426542" y="581352"/>
            <a:ext cx="118896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Rechteck: abgerundete Ecken 3">
            <a:extLst>
              <a:ext uri="{FF2B5EF4-FFF2-40B4-BE49-F238E27FC236}">
                <a16:creationId xmlns:a16="http://schemas.microsoft.com/office/drawing/2014/main" id="{ADAD1F71-9D7A-45A2-7D20-E5D6FA872D27}"/>
              </a:ext>
            </a:extLst>
          </p:cNvPr>
          <p:cNvSpPr/>
          <p:nvPr userDrawn="1"/>
        </p:nvSpPr>
        <p:spPr>
          <a:xfrm>
            <a:off x="15539971" y="582863"/>
            <a:ext cx="24078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marL="0" indent="0">
              <a:buNone/>
            </a:pPr>
            <a:endParaRPr lang="de-DE" sz="300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6" name="Rechteck: abgerundete Ecken 4">
            <a:extLst>
              <a:ext uri="{FF2B5EF4-FFF2-40B4-BE49-F238E27FC236}">
                <a16:creationId xmlns:a16="http://schemas.microsoft.com/office/drawing/2014/main" id="{67351508-2EB7-AE8F-2662-9EABF36AD2FF}"/>
              </a:ext>
            </a:extLst>
          </p:cNvPr>
          <p:cNvSpPr/>
          <p:nvPr userDrawn="1"/>
        </p:nvSpPr>
        <p:spPr>
          <a:xfrm rot="5400000">
            <a:off x="15746193" y="7915927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algn="r"/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Erfolgskriterien</a:t>
            </a:r>
            <a:endParaRPr lang="en-US" sz="2700">
              <a:solidFill>
                <a:schemeClr val="bg2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7704212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0713CEF-9EFC-B647-8CD3-E6C7C2D69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44700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0713CEF-9EFC-B647-8CD3-E6C7C2D6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9482F3-47FC-F341-9CD0-3010811904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6339" y="2738438"/>
            <a:ext cx="16257407" cy="6527007"/>
          </a:xfrm>
        </p:spPr>
        <p:txBody>
          <a:bodyPr/>
          <a:lstStyle>
            <a:lvl1pPr marL="428625" marR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10287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 sz="2400" baseline="0">
                <a:latin typeface="Arial" panose="020B0604020202020204" pitchFamily="34" charset="0"/>
              </a:defRPr>
            </a:lvl2pPr>
            <a:lvl3pPr marL="17145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2400" baseline="0">
                <a:latin typeface="Arial" panose="020B0604020202020204" pitchFamily="34" charset="0"/>
              </a:defRPr>
            </a:lvl3pPr>
          </a:lstStyle>
          <a:p>
            <a:pPr marL="428625" marR="0" lvl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fzählung Ebene 1</a:t>
            </a:r>
          </a:p>
          <a:p>
            <a:pPr marL="1028700" marR="0" lvl="1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2</a:t>
            </a:r>
          </a:p>
          <a:p>
            <a:pPr marL="1714500" marR="0" lvl="2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3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i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0C6BFEEB-ECFF-4C48-92FE-312C51CB0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339799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979A643-0C58-9640-84A1-E0C560C252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3C25E9D5-8FA4-B94E-8C8C-1BB0DC4D6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540710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70C6C35-A5AF-7D48-AB66-64768F12D45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2413745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5FF0338-6CCB-CD4C-8FBA-94EB4C882AC9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715041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94D9109E-1BE1-8E40-B857-0CCB6654F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55832177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302712147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ein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ECC58060-1838-DC42-8727-D88889BEED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831095748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mehr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C88DE74A-C8FD-8049-BD0C-FFC9C123D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58608726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4775" y="359766"/>
            <a:ext cx="17558214" cy="9601200"/>
          </a:xfrm>
          <a:solidFill>
            <a:schemeClr val="tx1">
              <a:lumMod val="85000"/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unk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AAE7FF-208F-2043-85E9-9A33928EFA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26BA3A1E-5EFF-5040-B178-505B1F9D0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35914112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8000" cy="10287000"/>
          </a:xfrm>
          <a:solidFill>
            <a:schemeClr val="tx1">
              <a:lumMod val="85000"/>
              <a:alpha val="1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Hel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effectLst/>
              </a:defRPr>
            </a:lvl1pPr>
          </a:lstStyle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A2FB161-2A9F-624D-AE19-35B69F7CF4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F353D9CE-E466-E941-85FA-8E7D10B44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864988677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chemeClr val="bg2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chemeClr val="bg2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chemeClr val="bg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2240202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254959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rgbClr val="002060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rgbClr val="002060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8815916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nsschild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C55A511F-315F-C340-BD8B-8AE029B862BD}"/>
              </a:ext>
            </a:extLst>
          </p:cNvPr>
          <p:cNvSpPr txBox="1">
            <a:spLocks/>
          </p:cNvSpPr>
          <p:nvPr userDrawn="1"/>
        </p:nvSpPr>
        <p:spPr>
          <a:xfrm>
            <a:off x="714587" y="3534294"/>
            <a:ext cx="17047634" cy="5257662"/>
          </a:xfrm>
          <a:prstGeom prst="rect">
            <a:avLst/>
          </a:prstGeom>
        </p:spPr>
        <p:txBody>
          <a:bodyPr vert="horz" lIns="137160" tIns="68580" rIns="137160" bIns="6858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0" b="1">
                <a:solidFill>
                  <a:srgbClr val="002060"/>
                </a:solidFill>
              </a:rPr>
              <a:t>Vorname Nachname </a:t>
            </a:r>
          </a:p>
          <a:p>
            <a:r>
              <a:rPr lang="de-DE" sz="12000" b="1">
                <a:solidFill>
                  <a:srgbClr val="002060"/>
                </a:solidFill>
              </a:rPr>
              <a:t>Arial 80 fet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B6426EF-1B3D-9943-BF06-7D7DC2FC2B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9558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gramm Kreis Typ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F8C62A-4B23-CE45-B7AA-54E9CA5DA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-332898"/>
            <a:ext cx="12268148" cy="19883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iagrammtyp weiß auf gelb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1" smtClean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55D0E25-9961-8043-AA46-3AC558D78E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DF168C96-70C0-F34C-A975-633C6C126D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>
            <a:lvl1pPr marL="428625" indent="-428625">
              <a:buFont typeface="Arial" panose="020B0604020202020204" pitchFamily="34" charset="0"/>
              <a:buChar char="•"/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extformat bearbeiten</a:t>
            </a:r>
          </a:p>
          <a:p>
            <a:r>
              <a:rPr lang="de-DE"/>
              <a:t>Zweite Ebene
Dritte Ebene</a:t>
            </a:r>
          </a:p>
        </p:txBody>
      </p:sp>
    </p:spTree>
    <p:extLst>
      <p:ext uri="{BB962C8B-B14F-4D97-AF65-F5344CB8AC3E}">
        <p14:creationId xmlns:p14="http://schemas.microsoft.com/office/powerpoint/2010/main" val="36134639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6792672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74225-EF49-6348-8C26-43C1B6383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94184168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74225-EF49-6348-8C26-43C1B6383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E4E78-D2FB-3C4E-8A7C-9A37C9024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940A25-EF3D-C84E-A40B-ED09A649A6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6338" y="2738438"/>
            <a:ext cx="15890123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Aufzählung Ebene 1</a:t>
            </a:r>
          </a:p>
          <a:p>
            <a:pPr lvl="1">
              <a:buFont typeface="Symbol" pitchFamily="2" charset="2"/>
              <a:buChar char="-"/>
            </a:pPr>
            <a:r>
              <a:rPr lang="de-DE"/>
              <a:t>Aufzählung Ebene 2</a:t>
            </a:r>
          </a:p>
          <a:p>
            <a:pPr lvl="2">
              <a:buFont typeface="Wingdings" pitchFamily="2" charset="2"/>
              <a:buChar char="§"/>
            </a:pPr>
            <a:r>
              <a:rPr lang="de-DE"/>
              <a:t>Aufzählung Ebene 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233BDC-86F5-7449-BC8F-7F298F4C1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Rahmenstrategie 2021 - Name Referent*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A5F7AE-597D-E04B-8DFD-F573619ABB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06363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F67B18-44D9-150C-A90C-80E42671A3B2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/>
          <a:stretch/>
        </p:blipFill>
        <p:spPr>
          <a:xfrm>
            <a:off x="13158944" y="662091"/>
            <a:ext cx="4244486" cy="119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353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28625" indent="-428625" algn="l" defTabSz="1371600" rtl="0" eaLnBrk="1" latinLnBrk="0" hangingPunct="1">
        <a:lnSpc>
          <a:spcPct val="110000"/>
        </a:lnSpc>
        <a:spcBef>
          <a:spcPts val="1500"/>
        </a:spcBef>
        <a:buFont typeface="Arial" panose="020B0604020202020204" pitchFamily="34" charset="0"/>
        <a:buChar char="•"/>
        <a:defRPr sz="27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7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95">
          <p15:clr>
            <a:srgbClr val="F26B43"/>
          </p15:clr>
        </p15:guide>
        <p15:guide id="4" pos="71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hyperlink" Target="https://www.energieolympiade.de/projektdatenbank/2013-1-32/" TargetMode="External"/><Relationship Id="rId3" Type="http://schemas.openxmlformats.org/officeDocument/2006/relationships/image" Target="../media/image14.jpeg"/><Relationship Id="rId7" Type="http://schemas.openxmlformats.org/officeDocument/2006/relationships/hyperlink" Target="https://www.mannheim.de/de/stadt-gestalten/planungskonzepte/flaechennutzungsplanung/flaechennutzungsplan-windenergie" TargetMode="External"/><Relationship Id="rId12" Type="http://schemas.openxmlformats.org/officeDocument/2006/relationships/hyperlink" Target="https://www.energieatlas.rlp.de/earp/praxisbeispiele/projektsteckbriefe/projekt-steckbriefe/anzeigen/unternehmen/128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M%C3%BCllberg_Speyer_-_9.JPG" TargetMode="External"/><Relationship Id="rId11" Type="http://schemas.openxmlformats.org/officeDocument/2006/relationships/image" Target="../media/image18.svg"/><Relationship Id="rId5" Type="http://schemas.openxmlformats.org/officeDocument/2006/relationships/hyperlink" Target="https://www.klimaschutz.de/de/foerderung/foerderprogramme/kommunalrichtlinie/massnahmen-zur-foerderung-klimafreundlicher-abwasserbewirtschaftung" TargetMode="External"/><Relationship Id="rId10" Type="http://schemas.openxmlformats.org/officeDocument/2006/relationships/image" Target="../media/image17.png"/><Relationship Id="rId4" Type="http://schemas.openxmlformats.org/officeDocument/2006/relationships/image" Target="../media/image13.png"/><Relationship Id="rId9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ons.wikimedia.org/wiki/File:M%C3%BCllberg_Speyer_-_9.JPG" TargetMode="External"/><Relationship Id="rId13" Type="http://schemas.openxmlformats.org/officeDocument/2006/relationships/hyperlink" Target="https://klimaschutz-halle.de/projekte/deponiegaserfassung/" TargetMode="External"/><Relationship Id="rId3" Type="http://schemas.openxmlformats.org/officeDocument/2006/relationships/image" Target="../media/image15.png"/><Relationship Id="rId7" Type="http://schemas.openxmlformats.org/officeDocument/2006/relationships/hyperlink" Target="https://www.klimaschutz.de/de/foerderung/foerderprogramme/kommunalrichtlinie/ma%C3%9Fnahmen-zur-foerderung-klimafreundlicher-abfallwirtschaft/optimierte-erfassung-von-deponiegasen-siedlungsabfalldeponien" TargetMode="External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5" Type="http://schemas.openxmlformats.org/officeDocument/2006/relationships/image" Target="../media/image19.png"/><Relationship Id="rId10" Type="http://schemas.openxmlformats.org/officeDocument/2006/relationships/hyperlink" Target="https://www.mannheim.de/de/stadt-gestalten/planungskonzepte/flaechennutzungsplanung/flaechennutzungsplan-windenergie" TargetMode="External"/><Relationship Id="rId4" Type="http://schemas.openxmlformats.org/officeDocument/2006/relationships/image" Target="../media/image16.svg"/><Relationship Id="rId9" Type="http://schemas.openxmlformats.org/officeDocument/2006/relationships/hyperlink" Target="https://commons.wikimedia.org/w/index.php?search=M%C3%BClldeponie&amp;title=Special:MediaSearch&amp;go=Go&amp;type=image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mweltbundesamt.de/daten/ressourcen-abfall/verwertung-entsorgung-ausgewaehlter-abfallarten/bioabfaelle#bioabfalle-gute-qualitat-ist-voraussetzung-fur-eine-hochwertige-verwertung" TargetMode="External"/><Relationship Id="rId13" Type="http://schemas.openxmlformats.org/officeDocument/2006/relationships/image" Target="../media/image18.svg"/><Relationship Id="rId3" Type="http://schemas.openxmlformats.org/officeDocument/2006/relationships/image" Target="../media/image20.jpeg"/><Relationship Id="rId7" Type="http://schemas.openxmlformats.org/officeDocument/2006/relationships/hyperlink" Target="https://www.umweltbundesamt.de/publikationen/ermittlung-der-emissionssituation-bei-der" TargetMode="External"/><Relationship Id="rId12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Pl%C3%A4sterlegge-Gartenabf%C3%A4lle.jpg" TargetMode="External"/><Relationship Id="rId11" Type="http://schemas.openxmlformats.org/officeDocument/2006/relationships/image" Target="../media/image16.svg"/><Relationship Id="rId5" Type="http://schemas.openxmlformats.org/officeDocument/2006/relationships/hyperlink" Target="https://commons.wikimedia.org/wiki/File:M%C3%BCllberg_Speyer_-_9.JPG" TargetMode="External"/><Relationship Id="rId10" Type="http://schemas.openxmlformats.org/officeDocument/2006/relationships/image" Target="../media/image15.png"/><Relationship Id="rId4" Type="http://schemas.openxmlformats.org/officeDocument/2006/relationships/image" Target="../media/image13.png"/><Relationship Id="rId9" Type="http://schemas.openxmlformats.org/officeDocument/2006/relationships/hyperlink" Target="https://www.mannheim.de/de/stadt-gestalten/planungskonzepte/flaechennutzungsplanung/flaechennutzungsplan-windenergie" TargetMode="External"/><Relationship Id="rId14" Type="http://schemas.openxmlformats.org/officeDocument/2006/relationships/hyperlink" Target="https://www.stadtreinigung.hamburg/ueber-uns/muellverwertung-anlagen/biogas-und-kompostwerk-buetzberg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13" Type="http://schemas.openxmlformats.org/officeDocument/2006/relationships/hyperlink" Target="https://pflanzenkohle-darmstadt.de/" TargetMode="External"/><Relationship Id="rId3" Type="http://schemas.openxmlformats.org/officeDocument/2006/relationships/image" Target="../media/image21.jpeg"/><Relationship Id="rId7" Type="http://schemas.openxmlformats.org/officeDocument/2006/relationships/hyperlink" Target="https://www.r-eka.de/projekte/pyrolyse/" TargetMode="External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Biomasseheizwerk_Mitterfels.jpg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commons.wikimedia.org/wiki/File:M%C3%BCllberg_Speyer_-_9.JPG" TargetMode="External"/><Relationship Id="rId15" Type="http://schemas.openxmlformats.org/officeDocument/2006/relationships/hyperlink" Target="https://naturpark-lueneburger-heide.de/der-naturpark/aktiv-fuer-den-naturpark/das-partner-netzwerk/pyccs-ggmbh" TargetMode="External"/><Relationship Id="rId10" Type="http://schemas.openxmlformats.org/officeDocument/2006/relationships/image" Target="../media/image16.svg"/><Relationship Id="rId4" Type="http://schemas.openxmlformats.org/officeDocument/2006/relationships/image" Target="../media/image13.png"/><Relationship Id="rId9" Type="http://schemas.openxmlformats.org/officeDocument/2006/relationships/image" Target="../media/image15.png"/><Relationship Id="rId14" Type="http://schemas.openxmlformats.org/officeDocument/2006/relationships/hyperlink" Target="https://energieagentur-suedwest.de/media/pflanzenkohle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58DE3F4-531E-B80B-2C92-DFF4C68D8E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LocalZero</a:t>
            </a:r>
            <a:r>
              <a:rPr lang="de-DE" dirty="0"/>
              <a:t> Top-Maßnahmen Abfallwirtschaft</a:t>
            </a:r>
          </a:p>
        </p:txBody>
      </p:sp>
    </p:spTree>
    <p:extLst>
      <p:ext uri="{BB962C8B-B14F-4D97-AF65-F5344CB8AC3E}">
        <p14:creationId xmlns:p14="http://schemas.microsoft.com/office/powerpoint/2010/main" val="3584298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Abfallwirtschaft</a:t>
              </a:r>
              <a:r>
                <a:rPr lang="en-US" sz="1799" b="1" dirty="0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9" name="Freeform 39"/>
          <p:cNvSpPr/>
          <p:nvPr/>
        </p:nvSpPr>
        <p:spPr>
          <a:xfrm>
            <a:off x="1394683" y="429846"/>
            <a:ext cx="1496802" cy="1190179"/>
          </a:xfrm>
          <a:custGeom>
            <a:avLst/>
            <a:gdLst/>
            <a:ahLst/>
            <a:cxnLst/>
            <a:rect l="l" t="t" r="r" b="b"/>
            <a:pathLst>
              <a:path w="1496802" h="1190179">
                <a:moveTo>
                  <a:pt x="0" y="0"/>
                </a:moveTo>
                <a:lnTo>
                  <a:pt x="1496802" y="0"/>
                </a:lnTo>
                <a:lnTo>
                  <a:pt x="1496802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1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3831165" y="1209283"/>
            <a:ext cx="10625669" cy="5138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200"/>
              </a:lnSpc>
            </a:pP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OP-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Sektor 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bfallwirtschaft</a:t>
            </a:r>
            <a:endParaRPr lang="en-US" sz="3000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6" name="TextBox 43">
            <a:extLst>
              <a:ext uri="{FF2B5EF4-FFF2-40B4-BE49-F238E27FC236}">
                <a16:creationId xmlns:a16="http://schemas.microsoft.com/office/drawing/2014/main" id="{3EDC1BD6-2B65-74ED-55DD-1ABFA8D72EE9}"/>
              </a:ext>
            </a:extLst>
          </p:cNvPr>
          <p:cNvSpPr txBox="1"/>
          <p:nvPr/>
        </p:nvSpPr>
        <p:spPr>
          <a:xfrm>
            <a:off x="517221" y="2125513"/>
            <a:ext cx="17155108" cy="7016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en:		Enabling-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Planer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echn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	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nabling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ritter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, die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tech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Maßnahme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umzusetz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Veränderung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r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Rahmenbeding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	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inspar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bspw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urch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Umstellung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r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Prozesse</a:t>
            </a:r>
            <a:endParaRPr lang="en-US" sz="1200" dirty="0">
              <a:solidFill>
                <a:srgbClr val="011633"/>
              </a:solidFill>
              <a:latin typeface="DM Sans 2" panose="020B0604020202020204" charset="0"/>
              <a:ea typeface="DM Sans 1"/>
              <a:cs typeface="DM Sans 1"/>
              <a:sym typeface="DM Sans 1"/>
            </a:endParaRPr>
          </a:p>
        </p:txBody>
      </p:sp>
      <p:sp>
        <p:nvSpPr>
          <p:cNvPr id="57" name="Freeform 13">
            <a:extLst>
              <a:ext uri="{FF2B5EF4-FFF2-40B4-BE49-F238E27FC236}">
                <a16:creationId xmlns:a16="http://schemas.microsoft.com/office/drawing/2014/main" id="{17C982CA-85B7-3FFF-4C15-6016A407CAAF}"/>
              </a:ext>
            </a:extLst>
          </p:cNvPr>
          <p:cNvSpPr/>
          <p:nvPr/>
        </p:nvSpPr>
        <p:spPr>
          <a:xfrm>
            <a:off x="3874726" y="2217706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59" name="Group 52">
            <a:extLst>
              <a:ext uri="{FF2B5EF4-FFF2-40B4-BE49-F238E27FC236}">
                <a16:creationId xmlns:a16="http://schemas.microsoft.com/office/drawing/2014/main" id="{A12570A0-F3C7-8096-384A-2E24E48E789A}"/>
              </a:ext>
            </a:extLst>
          </p:cNvPr>
          <p:cNvGrpSpPr/>
          <p:nvPr/>
        </p:nvGrpSpPr>
        <p:grpSpPr>
          <a:xfrm>
            <a:off x="8422875" y="2217705"/>
            <a:ext cx="188501" cy="188501"/>
            <a:chOff x="0" y="0"/>
            <a:chExt cx="812800" cy="812800"/>
          </a:xfrm>
        </p:grpSpPr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C13B45FE-0BC2-476C-5C85-B4D0B6FF7341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" name="TextBox 54">
              <a:extLst>
                <a:ext uri="{FF2B5EF4-FFF2-40B4-BE49-F238E27FC236}">
                  <a16:creationId xmlns:a16="http://schemas.microsoft.com/office/drawing/2014/main" id="{760C8AB1-2356-CC8A-0371-CB613CEAA400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sp>
        <p:nvSpPr>
          <p:cNvPr id="62" name="Flussdiagramm: Verbinder 61">
            <a:extLst>
              <a:ext uri="{FF2B5EF4-FFF2-40B4-BE49-F238E27FC236}">
                <a16:creationId xmlns:a16="http://schemas.microsoft.com/office/drawing/2014/main" id="{6BAEEE40-5423-5665-4FDC-A0D3009846ED}"/>
              </a:ext>
            </a:extLst>
          </p:cNvPr>
          <p:cNvSpPr/>
          <p:nvPr/>
        </p:nvSpPr>
        <p:spPr>
          <a:xfrm>
            <a:off x="13047602" y="2221570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TextBox 42">
            <a:extLst>
              <a:ext uri="{FF2B5EF4-FFF2-40B4-BE49-F238E27FC236}">
                <a16:creationId xmlns:a16="http://schemas.microsoft.com/office/drawing/2014/main" id="{CA289B15-CA6F-17BD-3B7F-FBB5AD9EEC70}"/>
              </a:ext>
            </a:extLst>
          </p:cNvPr>
          <p:cNvSpPr txBox="1"/>
          <p:nvPr/>
        </p:nvSpPr>
        <p:spPr>
          <a:xfrm>
            <a:off x="517221" y="3238500"/>
            <a:ext cx="17155108" cy="18969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1			Energieautarker Betrieb der Kläranlag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2			Optimierte Deponieerfassung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3			Verbesserte Nutzung von Grünschnitt und Bioabfall zur Erzeugung von erneuerbaren Energien und bei der 						Abfallbehandlung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4			Herstellung von Pflanzenkohle durch Pyrolyse </a:t>
            </a:r>
          </a:p>
        </p:txBody>
      </p:sp>
      <p:sp>
        <p:nvSpPr>
          <p:cNvPr id="67" name="Flussdiagramm: Verbinder 66">
            <a:extLst>
              <a:ext uri="{FF2B5EF4-FFF2-40B4-BE49-F238E27FC236}">
                <a16:creationId xmlns:a16="http://schemas.microsoft.com/office/drawing/2014/main" id="{6551716B-BAD2-0AF1-6C3E-B300E49D7840}"/>
              </a:ext>
            </a:extLst>
          </p:cNvPr>
          <p:cNvSpPr/>
          <p:nvPr/>
        </p:nvSpPr>
        <p:spPr>
          <a:xfrm>
            <a:off x="2818929" y="3720009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Flussdiagramm: Verbinder 69">
            <a:extLst>
              <a:ext uri="{FF2B5EF4-FFF2-40B4-BE49-F238E27FC236}">
                <a16:creationId xmlns:a16="http://schemas.microsoft.com/office/drawing/2014/main" id="{D57443AC-9645-D28C-11AF-AF1A57F1C704}"/>
              </a:ext>
            </a:extLst>
          </p:cNvPr>
          <p:cNvSpPr/>
          <p:nvPr/>
        </p:nvSpPr>
        <p:spPr>
          <a:xfrm>
            <a:off x="2818929" y="3340416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Flussdiagramm: Verbinder 70">
            <a:extLst>
              <a:ext uri="{FF2B5EF4-FFF2-40B4-BE49-F238E27FC236}">
                <a16:creationId xmlns:a16="http://schemas.microsoft.com/office/drawing/2014/main" id="{1AE6D5EA-6DBC-83FF-EE17-BD623822D918}"/>
              </a:ext>
            </a:extLst>
          </p:cNvPr>
          <p:cNvSpPr/>
          <p:nvPr/>
        </p:nvSpPr>
        <p:spPr>
          <a:xfrm>
            <a:off x="2818929" y="4099602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Flussdiagramm: Verbinder 71">
            <a:extLst>
              <a:ext uri="{FF2B5EF4-FFF2-40B4-BE49-F238E27FC236}">
                <a16:creationId xmlns:a16="http://schemas.microsoft.com/office/drawing/2014/main" id="{B18DC401-B6D6-72AB-DB8C-8B70E9D2F3A3}"/>
              </a:ext>
            </a:extLst>
          </p:cNvPr>
          <p:cNvSpPr/>
          <p:nvPr/>
        </p:nvSpPr>
        <p:spPr>
          <a:xfrm>
            <a:off x="2797234" y="4841607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4E84798E-9571-0C74-041B-600826CC40C7}"/>
              </a:ext>
            </a:extLst>
          </p:cNvPr>
          <p:cNvSpPr/>
          <p:nvPr/>
        </p:nvSpPr>
        <p:spPr>
          <a:xfrm>
            <a:off x="3225027" y="328006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4058364E-10CE-48D7-7303-E79A86F14976}"/>
              </a:ext>
            </a:extLst>
          </p:cNvPr>
          <p:cNvSpPr/>
          <p:nvPr/>
        </p:nvSpPr>
        <p:spPr>
          <a:xfrm>
            <a:off x="3225027" y="3675757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85D28F9D-DD44-A5B8-FC07-3BA6B9F8EDBD}"/>
              </a:ext>
            </a:extLst>
          </p:cNvPr>
          <p:cNvSpPr/>
          <p:nvPr/>
        </p:nvSpPr>
        <p:spPr>
          <a:xfrm>
            <a:off x="3225027" y="4055350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5F0B0D53-DB3E-8F63-E932-B3E702389678}"/>
              </a:ext>
            </a:extLst>
          </p:cNvPr>
          <p:cNvSpPr/>
          <p:nvPr/>
        </p:nvSpPr>
        <p:spPr>
          <a:xfrm>
            <a:off x="3225027" y="4833370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82CF3D2-1504-E0EE-244B-DAD91263C524}"/>
              </a:ext>
            </a:extLst>
          </p:cNvPr>
          <p:cNvSpPr txBox="1"/>
          <p:nvPr/>
        </p:nvSpPr>
        <p:spPr>
          <a:xfrm>
            <a:off x="3301227" y="3277330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BAA4B9A-A672-FEBA-E529-E24B6A3E69FE}"/>
              </a:ext>
            </a:extLst>
          </p:cNvPr>
          <p:cNvSpPr txBox="1"/>
          <p:nvPr/>
        </p:nvSpPr>
        <p:spPr>
          <a:xfrm>
            <a:off x="3301227" y="3659659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39D8B51-6DF3-60BA-EA78-9C5756C7C6E1}"/>
              </a:ext>
            </a:extLst>
          </p:cNvPr>
          <p:cNvSpPr txBox="1"/>
          <p:nvPr/>
        </p:nvSpPr>
        <p:spPr>
          <a:xfrm>
            <a:off x="3301227" y="4039252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EE79C8D-4E64-B1C4-4A7F-9BDF5E4FDB25}"/>
              </a:ext>
            </a:extLst>
          </p:cNvPr>
          <p:cNvSpPr txBox="1"/>
          <p:nvPr/>
        </p:nvSpPr>
        <p:spPr>
          <a:xfrm>
            <a:off x="3301227" y="482674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Abfallwirtschaft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1394683" y="429846"/>
            <a:ext cx="1496802" cy="1190179"/>
          </a:xfrm>
          <a:custGeom>
            <a:avLst/>
            <a:gdLst/>
            <a:ahLst/>
            <a:cxnLst/>
            <a:rect l="l" t="t" r="r" b="b"/>
            <a:pathLst>
              <a:path w="1496802" h="1190179">
                <a:moveTo>
                  <a:pt x="0" y="0"/>
                </a:moveTo>
                <a:lnTo>
                  <a:pt x="1496802" y="0"/>
                </a:lnTo>
                <a:lnTo>
                  <a:pt x="1496802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097407" cy="34358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en können den Betrieb von Kläranlagen auf vielseitige Weise energetisch optimieren: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effizienz: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Reduktion des Energieverbrauchs durch effizientere Technologien und Prozessoptimierung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neuerbare Energien: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stallation von Solaranlagen zur Stromerzeugung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iogasproduktion: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winnung von Biogas durch anaerobe Behandlung von Klärschlamm, das zur Strom- und Wärmeerzeugung genutzt wird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ärmerückgewinnung: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erwendung der bei der Abwasserbehandlung entstehenden Abwärme.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ür die Aktivitäten können Kommun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ördergelder des Bundes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antragen.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rek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reibhausgas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ell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gewinn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des 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brauchs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iva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bfallbetrieb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 2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äranlage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3831165" y="826191"/>
            <a:ext cx="10625669" cy="884858"/>
            <a:chOff x="0" y="-38100"/>
            <a:chExt cx="14167559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4167559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nergieautark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trieb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der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läranlag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815734" cy="39624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1</a:t>
              </a:r>
            </a:p>
          </p:txBody>
        </p:sp>
      </p:grpSp>
      <p:sp>
        <p:nvSpPr>
          <p:cNvPr id="56" name="Flussdiagramm: Verbinder 55">
            <a:extLst>
              <a:ext uri="{FF2B5EF4-FFF2-40B4-BE49-F238E27FC236}">
                <a16:creationId xmlns:a16="http://schemas.microsoft.com/office/drawing/2014/main" id="{90F1B9D4-BA22-F18F-B9CC-3C2C53F4196A}"/>
              </a:ext>
            </a:extLst>
          </p:cNvPr>
          <p:cNvSpPr/>
          <p:nvPr/>
        </p:nvSpPr>
        <p:spPr>
          <a:xfrm>
            <a:off x="649178" y="712655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7" name="Group 55">
            <a:extLst>
              <a:ext uri="{FF2B5EF4-FFF2-40B4-BE49-F238E27FC236}">
                <a16:creationId xmlns:a16="http://schemas.microsoft.com/office/drawing/2014/main" id="{FC701852-F7E3-ACF4-986B-C713F11F6FF1}"/>
              </a:ext>
            </a:extLst>
          </p:cNvPr>
          <p:cNvGrpSpPr/>
          <p:nvPr/>
        </p:nvGrpSpPr>
        <p:grpSpPr>
          <a:xfrm>
            <a:off x="-15767" y="2291998"/>
            <a:ext cx="185302" cy="7556180"/>
            <a:chOff x="-34161" y="24949"/>
            <a:chExt cx="247070" cy="10074908"/>
          </a:xfrm>
        </p:grpSpPr>
        <p:sp>
          <p:nvSpPr>
            <p:cNvPr id="58" name="TextBox 56">
              <a:extLst>
                <a:ext uri="{FF2B5EF4-FFF2-40B4-BE49-F238E27FC236}">
                  <a16:creationId xmlns:a16="http://schemas.microsoft.com/office/drawing/2014/main" id="{412A1776-2AD5-D385-3EE4-53A3F4F42CDA}"/>
                </a:ext>
              </a:extLst>
            </p:cNvPr>
            <p:cNvSpPr txBox="1"/>
            <p:nvPr/>
          </p:nvSpPr>
          <p:spPr>
            <a:xfrm rot="16200000">
              <a:off x="-4463241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KI-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örder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ßnahm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zur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örder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freundlicher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bwasserbewirtschaftung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7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9" name="TextBox 57">
              <a:extLst>
                <a:ext uri="{FF2B5EF4-FFF2-40B4-BE49-F238E27FC236}">
                  <a16:creationId xmlns:a16="http://schemas.microsoft.com/office/drawing/2014/main" id="{4670C5E4-9FD1-ECB8-5EE0-EAEA6F04AF35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1" name="TextBox 22">
            <a:extLst>
              <a:ext uri="{FF2B5EF4-FFF2-40B4-BE49-F238E27FC236}">
                <a16:creationId xmlns:a16="http://schemas.microsoft.com/office/drawing/2014/main" id="{346AA880-F62C-7799-3BB7-18D8664D0CC7}"/>
              </a:ext>
            </a:extLst>
          </p:cNvPr>
          <p:cNvSpPr txBox="1"/>
          <p:nvPr/>
        </p:nvSpPr>
        <p:spPr>
          <a:xfrm>
            <a:off x="615671" y="9306563"/>
            <a:ext cx="2280149" cy="541615"/>
          </a:xfrm>
          <a:prstGeom prst="rect">
            <a:avLst/>
          </a:prstGeom>
        </p:spPr>
        <p:txBody>
          <a:bodyPr lIns="47301" tIns="47301" rIns="47301" bIns="47301" rtlCol="0" anchor="ctr"/>
          <a:lstStyle/>
          <a:p>
            <a:pPr algn="ctr">
              <a:lnSpc>
                <a:spcPts val="1960"/>
              </a:lnSpc>
            </a:pPr>
            <a:endParaRPr/>
          </a:p>
        </p:txBody>
      </p:sp>
      <p:sp>
        <p:nvSpPr>
          <p:cNvPr id="55" name="Freeform 18">
            <a:extLst>
              <a:ext uri="{FF2B5EF4-FFF2-40B4-BE49-F238E27FC236}">
                <a16:creationId xmlns:a16="http://schemas.microsoft.com/office/drawing/2014/main" id="{C011AB30-AE47-B300-7586-0A281A34C23D}"/>
              </a:ext>
            </a:extLst>
          </p:cNvPr>
          <p:cNvSpPr/>
          <p:nvPr/>
        </p:nvSpPr>
        <p:spPr>
          <a:xfrm>
            <a:off x="2612568" y="9387865"/>
            <a:ext cx="2463783" cy="440591"/>
          </a:xfrm>
          <a:custGeom>
            <a:avLst/>
            <a:gdLst/>
            <a:ahLst/>
            <a:cxnLst/>
            <a:rect l="l" t="t" r="r" b="b"/>
            <a:pathLst>
              <a:path w="696893" h="124623">
                <a:moveTo>
                  <a:pt x="62312" y="0"/>
                </a:moveTo>
                <a:lnTo>
                  <a:pt x="634582" y="0"/>
                </a:lnTo>
                <a:cubicBezTo>
                  <a:pt x="651108" y="0"/>
                  <a:pt x="666957" y="6565"/>
                  <a:pt x="678643" y="18251"/>
                </a:cubicBezTo>
                <a:cubicBezTo>
                  <a:pt x="690328" y="29936"/>
                  <a:pt x="696893" y="45786"/>
                  <a:pt x="696893" y="62312"/>
                </a:cubicBezTo>
                <a:lnTo>
                  <a:pt x="696893" y="62312"/>
                </a:lnTo>
                <a:cubicBezTo>
                  <a:pt x="696893" y="78838"/>
                  <a:pt x="690328" y="94687"/>
                  <a:pt x="678643" y="106373"/>
                </a:cubicBezTo>
                <a:cubicBezTo>
                  <a:pt x="666957" y="118058"/>
                  <a:pt x="651108" y="124623"/>
                  <a:pt x="634582" y="124623"/>
                </a:cubicBezTo>
                <a:lnTo>
                  <a:pt x="62312" y="124623"/>
                </a:lnTo>
                <a:cubicBezTo>
                  <a:pt x="45786" y="124623"/>
                  <a:pt x="29936" y="118058"/>
                  <a:pt x="18251" y="106373"/>
                </a:cubicBezTo>
                <a:cubicBezTo>
                  <a:pt x="6565" y="94687"/>
                  <a:pt x="0" y="78838"/>
                  <a:pt x="0" y="62312"/>
                </a:cubicBezTo>
                <a:lnTo>
                  <a:pt x="0" y="62312"/>
                </a:lnTo>
                <a:cubicBezTo>
                  <a:pt x="0" y="45786"/>
                  <a:pt x="6565" y="29936"/>
                  <a:pt x="18251" y="18251"/>
                </a:cubicBezTo>
                <a:cubicBezTo>
                  <a:pt x="29936" y="6565"/>
                  <a:pt x="45786" y="0"/>
                  <a:pt x="62312" y="0"/>
                </a:cubicBezTo>
                <a:close/>
              </a:path>
            </a:pathLst>
          </a:custGeom>
          <a:solidFill>
            <a:srgbClr val="A3D869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0" name="TextBox 34">
            <a:extLst>
              <a:ext uri="{FF2B5EF4-FFF2-40B4-BE49-F238E27FC236}">
                <a16:creationId xmlns:a16="http://schemas.microsoft.com/office/drawing/2014/main" id="{A0960855-F221-8B2E-07AB-202F33A0A6FB}"/>
              </a:ext>
            </a:extLst>
          </p:cNvPr>
          <p:cNvSpPr txBox="1"/>
          <p:nvPr/>
        </p:nvSpPr>
        <p:spPr>
          <a:xfrm>
            <a:off x="3026957" y="9486650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1" name="Freeform 30">
            <a:extLst>
              <a:ext uri="{FF2B5EF4-FFF2-40B4-BE49-F238E27FC236}">
                <a16:creationId xmlns:a16="http://schemas.microsoft.com/office/drawing/2014/main" id="{E7964D6E-5423-A983-26A0-72F10A65C2EA}"/>
              </a:ext>
            </a:extLst>
          </p:cNvPr>
          <p:cNvSpPr/>
          <p:nvPr/>
        </p:nvSpPr>
        <p:spPr>
          <a:xfrm>
            <a:off x="2755343" y="9491499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62" name="Grafik 61" descr="Sterne mit einfarbiger Füllung">
            <a:extLst>
              <a:ext uri="{FF2B5EF4-FFF2-40B4-BE49-F238E27FC236}">
                <a16:creationId xmlns:a16="http://schemas.microsoft.com/office/drawing/2014/main" id="{EC3458FD-D479-026B-9A6A-67F573CC96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10565" y="9388549"/>
            <a:ext cx="457200" cy="457200"/>
          </a:xfrm>
          <a:prstGeom prst="rect">
            <a:avLst/>
          </a:prstGeom>
        </p:spPr>
      </p:pic>
      <p:sp>
        <p:nvSpPr>
          <p:cNvPr id="63" name="TextBox 34">
            <a:extLst>
              <a:ext uri="{FF2B5EF4-FFF2-40B4-BE49-F238E27FC236}">
                <a16:creationId xmlns:a16="http://schemas.microsoft.com/office/drawing/2014/main" id="{CF72F9A2-4820-A50C-4D12-A74429B24602}"/>
              </a:ext>
            </a:extLst>
          </p:cNvPr>
          <p:cNvSpPr txBox="1"/>
          <p:nvPr/>
        </p:nvSpPr>
        <p:spPr>
          <a:xfrm>
            <a:off x="8691489" y="9483780"/>
            <a:ext cx="1262400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lärwerk Trier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grpSp>
        <p:nvGrpSpPr>
          <p:cNvPr id="64" name="Group 26">
            <a:extLst>
              <a:ext uri="{FF2B5EF4-FFF2-40B4-BE49-F238E27FC236}">
                <a16:creationId xmlns:a16="http://schemas.microsoft.com/office/drawing/2014/main" id="{AD12A575-4F0D-00B9-B343-57217895B826}"/>
              </a:ext>
            </a:extLst>
          </p:cNvPr>
          <p:cNvGrpSpPr/>
          <p:nvPr/>
        </p:nvGrpSpPr>
        <p:grpSpPr>
          <a:xfrm>
            <a:off x="515733" y="9390801"/>
            <a:ext cx="1996897" cy="440591"/>
            <a:chOff x="0" y="0"/>
            <a:chExt cx="564832" cy="124623"/>
          </a:xfrm>
        </p:grpSpPr>
        <p:sp>
          <p:nvSpPr>
            <p:cNvPr id="65" name="Freeform 27">
              <a:extLst>
                <a:ext uri="{FF2B5EF4-FFF2-40B4-BE49-F238E27FC236}">
                  <a16:creationId xmlns:a16="http://schemas.microsoft.com/office/drawing/2014/main" id="{451D3AED-3970-3AB6-EE0C-61CBE0F4CD6C}"/>
                </a:ext>
              </a:extLst>
            </p:cNvPr>
            <p:cNvSpPr/>
            <p:nvPr/>
          </p:nvSpPr>
          <p:spPr>
            <a:xfrm>
              <a:off x="0" y="0"/>
              <a:ext cx="564832" cy="124623"/>
            </a:xfrm>
            <a:custGeom>
              <a:avLst/>
              <a:gdLst/>
              <a:ahLst/>
              <a:cxnLst/>
              <a:rect l="l" t="t" r="r" b="b"/>
              <a:pathLst>
                <a:path w="564832" h="124623">
                  <a:moveTo>
                    <a:pt x="62312" y="0"/>
                  </a:moveTo>
                  <a:lnTo>
                    <a:pt x="502520" y="0"/>
                  </a:lnTo>
                  <a:cubicBezTo>
                    <a:pt x="536934" y="0"/>
                    <a:pt x="564832" y="27898"/>
                    <a:pt x="564832" y="62312"/>
                  </a:cubicBezTo>
                  <a:lnTo>
                    <a:pt x="564832" y="62312"/>
                  </a:lnTo>
                  <a:cubicBezTo>
                    <a:pt x="564832" y="78838"/>
                    <a:pt x="558267" y="94687"/>
                    <a:pt x="546581" y="106373"/>
                  </a:cubicBezTo>
                  <a:cubicBezTo>
                    <a:pt x="534896" y="118058"/>
                    <a:pt x="519046" y="124623"/>
                    <a:pt x="50252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TextBox 28">
              <a:extLst>
                <a:ext uri="{FF2B5EF4-FFF2-40B4-BE49-F238E27FC236}">
                  <a16:creationId xmlns:a16="http://schemas.microsoft.com/office/drawing/2014/main" id="{B31DC6E8-72AD-4E55-113C-6B543A4091A9}"/>
                </a:ext>
              </a:extLst>
            </p:cNvPr>
            <p:cNvSpPr txBox="1"/>
            <p:nvPr/>
          </p:nvSpPr>
          <p:spPr>
            <a:xfrm>
              <a:off x="0" y="-28575"/>
              <a:ext cx="56483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7" name="Freeform 30">
            <a:extLst>
              <a:ext uri="{FF2B5EF4-FFF2-40B4-BE49-F238E27FC236}">
                <a16:creationId xmlns:a16="http://schemas.microsoft.com/office/drawing/2014/main" id="{8B35095B-4AE7-78E9-4F19-463BE9B4D835}"/>
              </a:ext>
            </a:extLst>
          </p:cNvPr>
          <p:cNvSpPr/>
          <p:nvPr/>
        </p:nvSpPr>
        <p:spPr>
          <a:xfrm>
            <a:off x="659795" y="9500242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8" name="TextBox 43">
            <a:extLst>
              <a:ext uri="{FF2B5EF4-FFF2-40B4-BE49-F238E27FC236}">
                <a16:creationId xmlns:a16="http://schemas.microsoft.com/office/drawing/2014/main" id="{346D5452-B5DA-5ECB-9D00-2CB8589D20A8}"/>
              </a:ext>
            </a:extLst>
          </p:cNvPr>
          <p:cNvSpPr txBox="1"/>
          <p:nvPr/>
        </p:nvSpPr>
        <p:spPr>
          <a:xfrm>
            <a:off x="940742" y="9483780"/>
            <a:ext cx="145174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Wirtschaftlichkeit</a:t>
            </a:r>
          </a:p>
        </p:txBody>
      </p:sp>
      <p:grpSp>
        <p:nvGrpSpPr>
          <p:cNvPr id="69" name="Group 20">
            <a:extLst>
              <a:ext uri="{FF2B5EF4-FFF2-40B4-BE49-F238E27FC236}">
                <a16:creationId xmlns:a16="http://schemas.microsoft.com/office/drawing/2014/main" id="{7D06FD00-520E-5F28-7442-93F71E05534F}"/>
              </a:ext>
            </a:extLst>
          </p:cNvPr>
          <p:cNvGrpSpPr/>
          <p:nvPr/>
        </p:nvGrpSpPr>
        <p:grpSpPr>
          <a:xfrm>
            <a:off x="5176289" y="9387865"/>
            <a:ext cx="2934338" cy="440591"/>
            <a:chOff x="0" y="0"/>
            <a:chExt cx="829992" cy="124623"/>
          </a:xfrm>
        </p:grpSpPr>
        <p:sp>
          <p:nvSpPr>
            <p:cNvPr id="70" name="Freeform 21">
              <a:extLst>
                <a:ext uri="{FF2B5EF4-FFF2-40B4-BE49-F238E27FC236}">
                  <a16:creationId xmlns:a16="http://schemas.microsoft.com/office/drawing/2014/main" id="{CA145ABF-E02D-FB91-9A80-C1B7F738CA8A}"/>
                </a:ext>
              </a:extLst>
            </p:cNvPr>
            <p:cNvSpPr/>
            <p:nvPr/>
          </p:nvSpPr>
          <p:spPr>
            <a:xfrm>
              <a:off x="0" y="0"/>
              <a:ext cx="829992" cy="124623"/>
            </a:xfrm>
            <a:custGeom>
              <a:avLst/>
              <a:gdLst/>
              <a:ahLst/>
              <a:cxnLst/>
              <a:rect l="l" t="t" r="r" b="b"/>
              <a:pathLst>
                <a:path w="829992" h="124623">
                  <a:moveTo>
                    <a:pt x="62312" y="0"/>
                  </a:moveTo>
                  <a:lnTo>
                    <a:pt x="767680" y="0"/>
                  </a:lnTo>
                  <a:cubicBezTo>
                    <a:pt x="784206" y="0"/>
                    <a:pt x="800055" y="6565"/>
                    <a:pt x="811741" y="18251"/>
                  </a:cubicBezTo>
                  <a:cubicBezTo>
                    <a:pt x="823427" y="29936"/>
                    <a:pt x="829992" y="45786"/>
                    <a:pt x="829992" y="62312"/>
                  </a:cubicBezTo>
                  <a:lnTo>
                    <a:pt x="829992" y="62312"/>
                  </a:lnTo>
                  <a:cubicBezTo>
                    <a:pt x="829992" y="96725"/>
                    <a:pt x="802094" y="124623"/>
                    <a:pt x="76768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TextBox 22">
              <a:extLst>
                <a:ext uri="{FF2B5EF4-FFF2-40B4-BE49-F238E27FC236}">
                  <a16:creationId xmlns:a16="http://schemas.microsoft.com/office/drawing/2014/main" id="{86651745-6A0C-7F1F-5664-EEC436463C50}"/>
                </a:ext>
              </a:extLst>
            </p:cNvPr>
            <p:cNvSpPr txBox="1"/>
            <p:nvPr/>
          </p:nvSpPr>
          <p:spPr>
            <a:xfrm>
              <a:off x="0" y="-28575"/>
              <a:ext cx="82999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72" name="Freeform 28">
            <a:extLst>
              <a:ext uri="{FF2B5EF4-FFF2-40B4-BE49-F238E27FC236}">
                <a16:creationId xmlns:a16="http://schemas.microsoft.com/office/drawing/2014/main" id="{F621A58C-B893-B39A-7ECA-BBE3479C6BD0}"/>
              </a:ext>
            </a:extLst>
          </p:cNvPr>
          <p:cNvSpPr/>
          <p:nvPr/>
        </p:nvSpPr>
        <p:spPr>
          <a:xfrm>
            <a:off x="5309639" y="9491499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3" name="TextBox 35">
            <a:extLst>
              <a:ext uri="{FF2B5EF4-FFF2-40B4-BE49-F238E27FC236}">
                <a16:creationId xmlns:a16="http://schemas.microsoft.com/office/drawing/2014/main" id="{D459241B-D0F8-ED88-6C01-39A7FB1B5B2A}"/>
              </a:ext>
            </a:extLst>
          </p:cNvPr>
          <p:cNvSpPr txBox="1"/>
          <p:nvPr/>
        </p:nvSpPr>
        <p:spPr>
          <a:xfrm>
            <a:off x="5590587" y="9473063"/>
            <a:ext cx="2365114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nefits für die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llgemeinh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74" name="Grafik 73" descr="Sterne mit einfarbiger Füllung">
            <a:extLst>
              <a:ext uri="{FF2B5EF4-FFF2-40B4-BE49-F238E27FC236}">
                <a16:creationId xmlns:a16="http://schemas.microsoft.com/office/drawing/2014/main" id="{86B489EA-92B3-420E-AAF4-AC17AEDFDC2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94189" y="9388549"/>
            <a:ext cx="457200" cy="457200"/>
          </a:xfrm>
          <a:prstGeom prst="rect">
            <a:avLst/>
          </a:prstGeom>
        </p:spPr>
      </p:pic>
      <p:sp>
        <p:nvSpPr>
          <p:cNvPr id="75" name="TextBox 34">
            <a:extLst>
              <a:ext uri="{FF2B5EF4-FFF2-40B4-BE49-F238E27FC236}">
                <a16:creationId xmlns:a16="http://schemas.microsoft.com/office/drawing/2014/main" id="{16288922-C44A-D96C-5861-14AAE7FD715C}"/>
              </a:ext>
            </a:extLst>
          </p:cNvPr>
          <p:cNvSpPr txBox="1"/>
          <p:nvPr/>
        </p:nvSpPr>
        <p:spPr>
          <a:xfrm>
            <a:off x="10375112" y="9483780"/>
            <a:ext cx="1809485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lärwerk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rgteheide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12782581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Abfallwirtschaft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0" name="Group 20"/>
          <p:cNvGrpSpPr/>
          <p:nvPr/>
        </p:nvGrpSpPr>
        <p:grpSpPr>
          <a:xfrm>
            <a:off x="515733" y="9407587"/>
            <a:ext cx="2463783" cy="440591"/>
            <a:chOff x="0" y="0"/>
            <a:chExt cx="696893" cy="124623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TextBox 22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3" name="Freeform 33"/>
          <p:cNvSpPr/>
          <p:nvPr/>
        </p:nvSpPr>
        <p:spPr>
          <a:xfrm>
            <a:off x="639558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1394683" y="429846"/>
            <a:ext cx="1496802" cy="1190179"/>
          </a:xfrm>
          <a:custGeom>
            <a:avLst/>
            <a:gdLst/>
            <a:ahLst/>
            <a:cxnLst/>
            <a:rect l="l" t="t" r="r" b="b"/>
            <a:pathLst>
              <a:path w="1496802" h="1190179">
                <a:moveTo>
                  <a:pt x="0" y="0"/>
                </a:moveTo>
                <a:lnTo>
                  <a:pt x="1496802" y="0"/>
                </a:lnTo>
                <a:lnTo>
                  <a:pt x="1496802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1" name="TextBox 41"/>
          <p:cNvSpPr txBox="1"/>
          <p:nvPr/>
        </p:nvSpPr>
        <p:spPr>
          <a:xfrm>
            <a:off x="911172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 Umsetzbarkeit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22817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poniegas, bestehend aus Methan (CH4) und Kohlenstoffdioxid (CO2), entsteht hauptsächlich durch den Abbau von organischen Inhaltsstoffen im Abfall bzw. Hausmüll. 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Ausgasung erstreckt sich über viele Jahre. Kommunen können über unterschiedliche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öffentlich geförderte Maßnahm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wi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asreinigung und -aufbereitung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 ein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besserte Fassung und Behandlung der Gase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Emissionen deutlich reduzieren. 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rek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reibhausgas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ell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ozess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817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iva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bfallbetrieb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an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genständi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uf polit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k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sichts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gneri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ozess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el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611600" y="9541473"/>
            <a:ext cx="11927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3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ülldeponie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öblingen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3831165" y="826191"/>
            <a:ext cx="10625669" cy="884858"/>
            <a:chOff x="0" y="-38100"/>
            <a:chExt cx="14167559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4167559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Optimiert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Deponiegaserfassung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815733" cy="40857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2</a:t>
              </a:r>
            </a:p>
          </p:txBody>
        </p:sp>
      </p:grpSp>
      <p:sp>
        <p:nvSpPr>
          <p:cNvPr id="56" name="Flussdiagramm: Verbinder 55">
            <a:extLst>
              <a:ext uri="{FF2B5EF4-FFF2-40B4-BE49-F238E27FC236}">
                <a16:creationId xmlns:a16="http://schemas.microsoft.com/office/drawing/2014/main" id="{90F1B9D4-BA22-F18F-B9CC-3C2C53F4196A}"/>
              </a:ext>
            </a:extLst>
          </p:cNvPr>
          <p:cNvSpPr/>
          <p:nvPr/>
        </p:nvSpPr>
        <p:spPr>
          <a:xfrm>
            <a:off x="649178" y="712655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7" name="Group 55">
            <a:extLst>
              <a:ext uri="{FF2B5EF4-FFF2-40B4-BE49-F238E27FC236}">
                <a16:creationId xmlns:a16="http://schemas.microsoft.com/office/drawing/2014/main" id="{FC701852-F7E3-ACF4-986B-C713F11F6FF1}"/>
              </a:ext>
            </a:extLst>
          </p:cNvPr>
          <p:cNvGrpSpPr/>
          <p:nvPr/>
        </p:nvGrpSpPr>
        <p:grpSpPr>
          <a:xfrm>
            <a:off x="-15767" y="2291998"/>
            <a:ext cx="185302" cy="7556180"/>
            <a:chOff x="-34161" y="24949"/>
            <a:chExt cx="247070" cy="10074908"/>
          </a:xfrm>
        </p:grpSpPr>
        <p:sp>
          <p:nvSpPr>
            <p:cNvPr id="58" name="TextBox 56">
              <a:extLst>
                <a:ext uri="{FF2B5EF4-FFF2-40B4-BE49-F238E27FC236}">
                  <a16:creationId xmlns:a16="http://schemas.microsoft.com/office/drawing/2014/main" id="{412A1776-2AD5-D385-3EE4-53A3F4F42CDA}"/>
                </a:ext>
              </a:extLst>
            </p:cNvPr>
            <p:cNvSpPr txBox="1"/>
            <p:nvPr/>
          </p:nvSpPr>
          <p:spPr>
            <a:xfrm rot="16200000">
              <a:off x="-4463241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KI-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örder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ptimiert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rfass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vo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poniegas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iedlungsabfäll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10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9" name="TextBox 57">
              <a:extLst>
                <a:ext uri="{FF2B5EF4-FFF2-40B4-BE49-F238E27FC236}">
                  <a16:creationId xmlns:a16="http://schemas.microsoft.com/office/drawing/2014/main" id="{4670C5E4-9FD1-ECB8-5EE0-EAEA6F04AF35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pic>
        <p:nvPicPr>
          <p:cNvPr id="11" name="Grafik 10" descr="Sterne mit einfarbiger Füllung">
            <a:extLst>
              <a:ext uri="{FF2B5EF4-FFF2-40B4-BE49-F238E27FC236}">
                <a16:creationId xmlns:a16="http://schemas.microsoft.com/office/drawing/2014/main" id="{7149937B-F0A2-6CA6-6671-9B9DCB7823E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61816" y="9411141"/>
            <a:ext cx="457200" cy="457200"/>
          </a:xfrm>
          <a:prstGeom prst="rect">
            <a:avLst/>
          </a:prstGeom>
        </p:spPr>
      </p:pic>
      <p:sp>
        <p:nvSpPr>
          <p:cNvPr id="12" name="TextBox 34">
            <a:extLst>
              <a:ext uri="{FF2B5EF4-FFF2-40B4-BE49-F238E27FC236}">
                <a16:creationId xmlns:a16="http://schemas.microsoft.com/office/drawing/2014/main" id="{AE7B1D25-0FC7-5715-6982-DD7DA8FD97FF}"/>
              </a:ext>
            </a:extLst>
          </p:cNvPr>
          <p:cNvSpPr txBox="1"/>
          <p:nvPr/>
        </p:nvSpPr>
        <p:spPr>
          <a:xfrm>
            <a:off x="3542739" y="9506372"/>
            <a:ext cx="1809485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ponie Halle-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chau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0803625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Abfallwirtschaft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1394683" y="429846"/>
            <a:ext cx="1496802" cy="1190179"/>
          </a:xfrm>
          <a:custGeom>
            <a:avLst/>
            <a:gdLst/>
            <a:ahLst/>
            <a:cxnLst/>
            <a:rect l="l" t="t" r="r" b="b"/>
            <a:pathLst>
              <a:path w="1496802" h="1190179">
                <a:moveTo>
                  <a:pt x="0" y="0"/>
                </a:moveTo>
                <a:lnTo>
                  <a:pt x="1496802" y="0"/>
                </a:lnTo>
                <a:lnTo>
                  <a:pt x="1496802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097407" cy="18969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Je nachdem wie effizient die in der Biomasse gespeicherte Energie im Abfall genutzt wird, trägt die Bioabfallbehandlung mehr oder weniger zum Klimaschutz bei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&gt; 50% der Bioabfälle werden derzeit einfach kompostiert, wobei die enthaltene Energie nicht genutzt wird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Kommunen sollten de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teil der Vergärung durch Biogasgewinnung erhöh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v.a. für Bioabfälle aus Haushalten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rek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reibhausgas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ell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gewinn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des 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brauchs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iva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bfallbetrieb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611600" y="9541473"/>
            <a:ext cx="11927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4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ioabfälle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6" name="Flussdiagramm: Verbinder 55">
            <a:extLst>
              <a:ext uri="{FF2B5EF4-FFF2-40B4-BE49-F238E27FC236}">
                <a16:creationId xmlns:a16="http://schemas.microsoft.com/office/drawing/2014/main" id="{90F1B9D4-BA22-F18F-B9CC-3C2C53F4196A}"/>
              </a:ext>
            </a:extLst>
          </p:cNvPr>
          <p:cNvSpPr/>
          <p:nvPr/>
        </p:nvSpPr>
        <p:spPr>
          <a:xfrm>
            <a:off x="649178" y="712655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7" name="Group 55">
            <a:extLst>
              <a:ext uri="{FF2B5EF4-FFF2-40B4-BE49-F238E27FC236}">
                <a16:creationId xmlns:a16="http://schemas.microsoft.com/office/drawing/2014/main" id="{FC701852-F7E3-ACF4-986B-C713F11F6FF1}"/>
              </a:ext>
            </a:extLst>
          </p:cNvPr>
          <p:cNvGrpSpPr/>
          <p:nvPr/>
        </p:nvGrpSpPr>
        <p:grpSpPr>
          <a:xfrm>
            <a:off x="-18995" y="2291998"/>
            <a:ext cx="347146" cy="7556180"/>
            <a:chOff x="-38466" y="24949"/>
            <a:chExt cx="462863" cy="10074908"/>
          </a:xfrm>
        </p:grpSpPr>
        <p:sp>
          <p:nvSpPr>
            <p:cNvPr id="58" name="TextBox 56">
              <a:extLst>
                <a:ext uri="{FF2B5EF4-FFF2-40B4-BE49-F238E27FC236}">
                  <a16:creationId xmlns:a16="http://schemas.microsoft.com/office/drawing/2014/main" id="{412A1776-2AD5-D385-3EE4-53A3F4F42CDA}"/>
                </a:ext>
              </a:extLst>
            </p:cNvPr>
            <p:cNvSpPr txBox="1"/>
            <p:nvPr/>
          </p:nvSpPr>
          <p:spPr>
            <a:xfrm rot="16200000">
              <a:off x="-4371444" y="4357927"/>
              <a:ext cx="9128820" cy="46286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mweltbundesamt 2015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rmittl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r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missionssituatio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ei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r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erwert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vo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oabfäll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mweltbundesamt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oabfälle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9" name="TextBox 57">
              <a:extLst>
                <a:ext uri="{FF2B5EF4-FFF2-40B4-BE49-F238E27FC236}">
                  <a16:creationId xmlns:a16="http://schemas.microsoft.com/office/drawing/2014/main" id="{4670C5E4-9FD1-ECB8-5EE0-EAEA6F04AF35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11" name="Group 52">
            <a:extLst>
              <a:ext uri="{FF2B5EF4-FFF2-40B4-BE49-F238E27FC236}">
                <a16:creationId xmlns:a16="http://schemas.microsoft.com/office/drawing/2014/main" id="{1664B502-C7F7-25FA-248B-919BF82BDC9B}"/>
              </a:ext>
            </a:extLst>
          </p:cNvPr>
          <p:cNvGrpSpPr/>
          <p:nvPr/>
        </p:nvGrpSpPr>
        <p:grpSpPr>
          <a:xfrm>
            <a:off x="3831165" y="321072"/>
            <a:ext cx="10625669" cy="1408847"/>
            <a:chOff x="0" y="-38100"/>
            <a:chExt cx="14167559" cy="1878461"/>
          </a:xfrm>
        </p:grpSpPr>
        <p:sp>
          <p:nvSpPr>
            <p:cNvPr id="12" name="TextBox 53">
              <a:extLst>
                <a:ext uri="{FF2B5EF4-FFF2-40B4-BE49-F238E27FC236}">
                  <a16:creationId xmlns:a16="http://schemas.microsoft.com/office/drawing/2014/main" id="{25061B57-6F10-C082-0E73-ABE04336E754}"/>
                </a:ext>
              </a:extLst>
            </p:cNvPr>
            <p:cNvSpPr txBox="1"/>
            <p:nvPr/>
          </p:nvSpPr>
          <p:spPr>
            <a:xfrm>
              <a:off x="0" y="456565"/>
              <a:ext cx="14167559" cy="138379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26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Verbesserte</a:t>
              </a:r>
              <a:r>
                <a:rPr lang="en-US" sz="26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6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Nutzung</a:t>
              </a:r>
              <a:r>
                <a:rPr lang="en-US" sz="26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26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Grünschnitt</a:t>
              </a:r>
              <a:r>
                <a:rPr lang="en-US" sz="26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26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ioabfall</a:t>
              </a:r>
              <a:r>
                <a:rPr lang="en-US" sz="26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6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zur</a:t>
              </a:r>
              <a:r>
                <a:rPr lang="en-US" sz="26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6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zeugung</a:t>
              </a:r>
              <a:r>
                <a:rPr lang="en-US" sz="26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26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neuerbaren</a:t>
              </a:r>
              <a:r>
                <a:rPr lang="en-US" sz="26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6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nergien</a:t>
              </a:r>
              <a:r>
                <a:rPr lang="en-US" sz="26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26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i</a:t>
              </a:r>
              <a:r>
                <a:rPr lang="en-US" sz="26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der </a:t>
              </a:r>
              <a:r>
                <a:rPr lang="en-US" sz="26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bfallverwertung</a:t>
              </a:r>
              <a:endParaRPr lang="en-US" sz="26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13" name="TextBox 54">
              <a:extLst>
                <a:ext uri="{FF2B5EF4-FFF2-40B4-BE49-F238E27FC236}">
                  <a16:creationId xmlns:a16="http://schemas.microsoft.com/office/drawing/2014/main" id="{3137D029-1BD6-4884-27B2-90F547049609}"/>
                </a:ext>
              </a:extLst>
            </p:cNvPr>
            <p:cNvSpPr txBox="1"/>
            <p:nvPr/>
          </p:nvSpPr>
          <p:spPr>
            <a:xfrm>
              <a:off x="0" y="-38100"/>
              <a:ext cx="1815733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3</a:t>
              </a:r>
            </a:p>
          </p:txBody>
        </p:sp>
      </p:grpSp>
      <p:grpSp>
        <p:nvGrpSpPr>
          <p:cNvPr id="36" name="Group 20">
            <a:extLst>
              <a:ext uri="{FF2B5EF4-FFF2-40B4-BE49-F238E27FC236}">
                <a16:creationId xmlns:a16="http://schemas.microsoft.com/office/drawing/2014/main" id="{3ECB5B20-146D-1171-D85F-B267B10A60E6}"/>
              </a:ext>
            </a:extLst>
          </p:cNvPr>
          <p:cNvGrpSpPr/>
          <p:nvPr/>
        </p:nvGrpSpPr>
        <p:grpSpPr>
          <a:xfrm>
            <a:off x="515733" y="9407587"/>
            <a:ext cx="2463783" cy="440591"/>
            <a:chOff x="0" y="0"/>
            <a:chExt cx="696893" cy="124623"/>
          </a:xfrm>
        </p:grpSpPr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id="{4A0A44D0-DACD-04FF-9503-5BDDB0870B4F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TextBox 22">
              <a:extLst>
                <a:ext uri="{FF2B5EF4-FFF2-40B4-BE49-F238E27FC236}">
                  <a16:creationId xmlns:a16="http://schemas.microsoft.com/office/drawing/2014/main" id="{901C6012-E590-C6FA-B4BD-A6625A7EDFC6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2" name="Freeform 33">
            <a:extLst>
              <a:ext uri="{FF2B5EF4-FFF2-40B4-BE49-F238E27FC236}">
                <a16:creationId xmlns:a16="http://schemas.microsoft.com/office/drawing/2014/main" id="{693D1A97-050D-9082-1EF3-A24E38270475}"/>
              </a:ext>
            </a:extLst>
          </p:cNvPr>
          <p:cNvSpPr/>
          <p:nvPr/>
        </p:nvSpPr>
        <p:spPr>
          <a:xfrm>
            <a:off x="639558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3" name="TextBox 41">
            <a:extLst>
              <a:ext uri="{FF2B5EF4-FFF2-40B4-BE49-F238E27FC236}">
                <a16:creationId xmlns:a16="http://schemas.microsoft.com/office/drawing/2014/main" id="{37C42339-1A5B-6C80-F7F9-2C030E3B9A1E}"/>
              </a:ext>
            </a:extLst>
          </p:cNvPr>
          <p:cNvSpPr txBox="1"/>
          <p:nvPr/>
        </p:nvSpPr>
        <p:spPr>
          <a:xfrm>
            <a:off x="911172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 Umsetzbarkeit</a:t>
            </a:r>
          </a:p>
        </p:txBody>
      </p:sp>
      <p:pic>
        <p:nvPicPr>
          <p:cNvPr id="54" name="Grafik 53" descr="Sterne mit einfarbiger Füllung">
            <a:extLst>
              <a:ext uri="{FF2B5EF4-FFF2-40B4-BE49-F238E27FC236}">
                <a16:creationId xmlns:a16="http://schemas.microsoft.com/office/drawing/2014/main" id="{5E099A13-A4EA-9CF2-0CC8-6203B6C45E5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61816" y="9411141"/>
            <a:ext cx="457200" cy="457200"/>
          </a:xfrm>
          <a:prstGeom prst="rect">
            <a:avLst/>
          </a:prstGeom>
        </p:spPr>
      </p:pic>
      <p:sp>
        <p:nvSpPr>
          <p:cNvPr id="55" name="TextBox 34">
            <a:extLst>
              <a:ext uri="{FF2B5EF4-FFF2-40B4-BE49-F238E27FC236}">
                <a16:creationId xmlns:a16="http://schemas.microsoft.com/office/drawing/2014/main" id="{4B50707F-5494-CE84-061D-90CEBED9FB9C}"/>
              </a:ext>
            </a:extLst>
          </p:cNvPr>
          <p:cNvSpPr txBox="1"/>
          <p:nvPr/>
        </p:nvSpPr>
        <p:spPr>
          <a:xfrm>
            <a:off x="3542739" y="9506372"/>
            <a:ext cx="2876632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ogas- und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mpostwerk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ützber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29866825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Abfallwirtschaft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1394683" y="429846"/>
            <a:ext cx="1496802" cy="1190179"/>
          </a:xfrm>
          <a:custGeom>
            <a:avLst/>
            <a:gdLst/>
            <a:ahLst/>
            <a:cxnLst/>
            <a:rect l="l" t="t" r="r" b="b"/>
            <a:pathLst>
              <a:path w="1496802" h="1190179">
                <a:moveTo>
                  <a:pt x="0" y="0"/>
                </a:moveTo>
                <a:lnTo>
                  <a:pt x="1496802" y="0"/>
                </a:lnTo>
                <a:lnTo>
                  <a:pt x="1496802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38205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 der Pyrolyse werden Grünabfälle wie Gartenabfälle, Holzreste etc. verkohlt. Der Kohlenstoff wird dabei langfristig in der Biomasse gespeichert und fungiert so als Kohlenstoffsenke. Gleichzeitig kann die bei der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kohlung entstehende Wärme z.B. für ein Wärmenetz genutzt werden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r und privater Grünschnitt kann für die Herstellung von Pflanzenkohle gesammelt werden. Dafür muss im ersten Schritt ein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tandsaufnahme (Monitoring) der kommunal verfügbaren Biomasse-Abfälle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folgen. 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Kommune kann gemeinsam mit dem Abfallbetrieb de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bau einer Pyrolyseanlage prüf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ggf. eignet sich auch eine Anlage auf Landkreisebene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flanzenkohle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kan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m Stadtgebiet als Dünger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gesetzt werden, sie eignet sich außerdem zur Speicherung von Wasser und Nährstoffen.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rek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reibhausgas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ell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ozess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817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iva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bfallbetrieb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an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genständi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uf polit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k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m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sichts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gneri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ozess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el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611600" y="9541473"/>
            <a:ext cx="11927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5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iomasseheizwerk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terfel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3831165" y="826191"/>
            <a:ext cx="10625669" cy="884858"/>
            <a:chOff x="0" y="-38100"/>
            <a:chExt cx="14167559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4167559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Herstell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Pflanzenkohl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durch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Pyrolyse</a:t>
              </a: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815733" cy="40857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4</a:t>
              </a:r>
            </a:p>
          </p:txBody>
        </p:sp>
      </p:grpSp>
      <p:sp>
        <p:nvSpPr>
          <p:cNvPr id="56" name="Flussdiagramm: Verbinder 55">
            <a:extLst>
              <a:ext uri="{FF2B5EF4-FFF2-40B4-BE49-F238E27FC236}">
                <a16:creationId xmlns:a16="http://schemas.microsoft.com/office/drawing/2014/main" id="{90F1B9D4-BA22-F18F-B9CC-3C2C53F4196A}"/>
              </a:ext>
            </a:extLst>
          </p:cNvPr>
          <p:cNvSpPr/>
          <p:nvPr/>
        </p:nvSpPr>
        <p:spPr>
          <a:xfrm>
            <a:off x="649178" y="712655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7" name="Group 55">
            <a:extLst>
              <a:ext uri="{FF2B5EF4-FFF2-40B4-BE49-F238E27FC236}">
                <a16:creationId xmlns:a16="http://schemas.microsoft.com/office/drawing/2014/main" id="{FC701852-F7E3-ACF4-986B-C713F11F6FF1}"/>
              </a:ext>
            </a:extLst>
          </p:cNvPr>
          <p:cNvGrpSpPr/>
          <p:nvPr/>
        </p:nvGrpSpPr>
        <p:grpSpPr>
          <a:xfrm>
            <a:off x="-15767" y="2291998"/>
            <a:ext cx="185302" cy="7556180"/>
            <a:chOff x="-34161" y="24949"/>
            <a:chExt cx="247070" cy="10074908"/>
          </a:xfrm>
        </p:grpSpPr>
        <p:sp>
          <p:nvSpPr>
            <p:cNvPr id="58" name="TextBox 56">
              <a:extLst>
                <a:ext uri="{FF2B5EF4-FFF2-40B4-BE49-F238E27FC236}">
                  <a16:creationId xmlns:a16="http://schemas.microsoft.com/office/drawing/2014/main" id="{412A1776-2AD5-D385-3EE4-53A3F4F42CDA}"/>
                </a:ext>
              </a:extLst>
            </p:cNvPr>
            <p:cNvSpPr txBox="1"/>
            <p:nvPr/>
          </p:nvSpPr>
          <p:spPr>
            <a:xfrm rot="16200000">
              <a:off x="-4463241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ka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.V.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: Pyrolyse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9" name="TextBox 57">
              <a:extLst>
                <a:ext uri="{FF2B5EF4-FFF2-40B4-BE49-F238E27FC236}">
                  <a16:creationId xmlns:a16="http://schemas.microsoft.com/office/drawing/2014/main" id="{4670C5E4-9FD1-ECB8-5EE0-EAEA6F04AF35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11" name="Group 20">
            <a:extLst>
              <a:ext uri="{FF2B5EF4-FFF2-40B4-BE49-F238E27FC236}">
                <a16:creationId xmlns:a16="http://schemas.microsoft.com/office/drawing/2014/main" id="{718FA9DC-9DC7-888E-0782-2C8CD62755A6}"/>
              </a:ext>
            </a:extLst>
          </p:cNvPr>
          <p:cNvGrpSpPr/>
          <p:nvPr/>
        </p:nvGrpSpPr>
        <p:grpSpPr>
          <a:xfrm>
            <a:off x="515733" y="9407587"/>
            <a:ext cx="2463783" cy="440591"/>
            <a:chOff x="0" y="0"/>
            <a:chExt cx="696893" cy="124623"/>
          </a:xfrm>
        </p:grpSpPr>
        <p:sp>
          <p:nvSpPr>
            <p:cNvPr id="12" name="Freeform 21">
              <a:extLst>
                <a:ext uri="{FF2B5EF4-FFF2-40B4-BE49-F238E27FC236}">
                  <a16:creationId xmlns:a16="http://schemas.microsoft.com/office/drawing/2014/main" id="{9F3F3762-66BE-7896-91DA-338C5ABBE90C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22">
              <a:extLst>
                <a:ext uri="{FF2B5EF4-FFF2-40B4-BE49-F238E27FC236}">
                  <a16:creationId xmlns:a16="http://schemas.microsoft.com/office/drawing/2014/main" id="{02CF767C-9957-C220-6758-FAFABD99396E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6" name="Freeform 33">
            <a:extLst>
              <a:ext uri="{FF2B5EF4-FFF2-40B4-BE49-F238E27FC236}">
                <a16:creationId xmlns:a16="http://schemas.microsoft.com/office/drawing/2014/main" id="{99D603D6-31A1-A976-A917-ED1619BE7F12}"/>
              </a:ext>
            </a:extLst>
          </p:cNvPr>
          <p:cNvSpPr/>
          <p:nvPr/>
        </p:nvSpPr>
        <p:spPr>
          <a:xfrm>
            <a:off x="639558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7" name="TextBox 41">
            <a:extLst>
              <a:ext uri="{FF2B5EF4-FFF2-40B4-BE49-F238E27FC236}">
                <a16:creationId xmlns:a16="http://schemas.microsoft.com/office/drawing/2014/main" id="{B95F2B9D-F8C9-C90F-31BA-257F9089B023}"/>
              </a:ext>
            </a:extLst>
          </p:cNvPr>
          <p:cNvSpPr txBox="1"/>
          <p:nvPr/>
        </p:nvSpPr>
        <p:spPr>
          <a:xfrm>
            <a:off x="911172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 Umsetzbarkeit</a:t>
            </a:r>
          </a:p>
        </p:txBody>
      </p:sp>
      <p:pic>
        <p:nvPicPr>
          <p:cNvPr id="38" name="Grafik 37" descr="Sterne mit einfarbiger Füllung">
            <a:extLst>
              <a:ext uri="{FF2B5EF4-FFF2-40B4-BE49-F238E27FC236}">
                <a16:creationId xmlns:a16="http://schemas.microsoft.com/office/drawing/2014/main" id="{7CFE65E0-A2E9-F9E8-3647-5C0B030EF8A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61816" y="9411141"/>
            <a:ext cx="457200" cy="457200"/>
          </a:xfrm>
          <a:prstGeom prst="rect">
            <a:avLst/>
          </a:prstGeom>
        </p:spPr>
      </p:pic>
      <p:sp>
        <p:nvSpPr>
          <p:cNvPr id="55" name="TextBox 34">
            <a:extLst>
              <a:ext uri="{FF2B5EF4-FFF2-40B4-BE49-F238E27FC236}">
                <a16:creationId xmlns:a16="http://schemas.microsoft.com/office/drawing/2014/main" id="{DE7DB2E4-02AD-58AE-E8EA-B3D29832B126}"/>
              </a:ext>
            </a:extLst>
          </p:cNvPr>
          <p:cNvSpPr txBox="1"/>
          <p:nvPr/>
        </p:nvSpPr>
        <p:spPr>
          <a:xfrm>
            <a:off x="3542739" y="9506372"/>
            <a:ext cx="2876632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rbonisierungsanlage Darmstad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0" name="Grafik 59" descr="Sterne mit einfarbiger Füllung">
            <a:extLst>
              <a:ext uri="{FF2B5EF4-FFF2-40B4-BE49-F238E27FC236}">
                <a16:creationId xmlns:a16="http://schemas.microsoft.com/office/drawing/2014/main" id="{500F687F-FC9C-F618-0985-F12C7399EC8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96853" y="9411141"/>
            <a:ext cx="457200" cy="457200"/>
          </a:xfrm>
          <a:prstGeom prst="rect">
            <a:avLst/>
          </a:prstGeom>
        </p:spPr>
      </p:pic>
      <p:sp>
        <p:nvSpPr>
          <p:cNvPr id="61" name="TextBox 34">
            <a:extLst>
              <a:ext uri="{FF2B5EF4-FFF2-40B4-BE49-F238E27FC236}">
                <a16:creationId xmlns:a16="http://schemas.microsoft.com/office/drawing/2014/main" id="{2E0613E7-8EAE-31A7-CAB5-08C208CA5A7D}"/>
              </a:ext>
            </a:extLst>
          </p:cNvPr>
          <p:cNvSpPr txBox="1"/>
          <p:nvPr/>
        </p:nvSpPr>
        <p:spPr>
          <a:xfrm>
            <a:off x="6877776" y="9541472"/>
            <a:ext cx="2504862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yrolyse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s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ustein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in Basel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2" name="Grafik 61" descr="Sterne mit einfarbiger Füllung">
            <a:extLst>
              <a:ext uri="{FF2B5EF4-FFF2-40B4-BE49-F238E27FC236}">
                <a16:creationId xmlns:a16="http://schemas.microsoft.com/office/drawing/2014/main" id="{97D935DA-0481-CFF0-F9C9-F393EE9D611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79508" y="9428418"/>
            <a:ext cx="457200" cy="457200"/>
          </a:xfrm>
          <a:prstGeom prst="rect">
            <a:avLst/>
          </a:prstGeom>
        </p:spPr>
      </p:pic>
      <p:sp>
        <p:nvSpPr>
          <p:cNvPr id="63" name="TextBox 34">
            <a:extLst>
              <a:ext uri="{FF2B5EF4-FFF2-40B4-BE49-F238E27FC236}">
                <a16:creationId xmlns:a16="http://schemas.microsoft.com/office/drawing/2014/main" id="{B29B26D6-FFB1-79AA-2BCA-249D065A087E}"/>
              </a:ext>
            </a:extLst>
          </p:cNvPr>
          <p:cNvSpPr txBox="1"/>
          <p:nvPr/>
        </p:nvSpPr>
        <p:spPr>
          <a:xfrm>
            <a:off x="9860431" y="9523649"/>
            <a:ext cx="2876632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yrolyseanlage in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anstedt-Ollsen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1138442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">
  <a:themeElements>
    <a:clrScheme name="Benutzerdefiniert 3">
      <a:dk1>
        <a:srgbClr val="001432"/>
      </a:dk1>
      <a:lt1>
        <a:srgbClr val="001432"/>
      </a:lt1>
      <a:dk2>
        <a:srgbClr val="FFC80C"/>
      </a:dk2>
      <a:lt2>
        <a:srgbClr val="FEFFFF"/>
      </a:lt2>
      <a:accent1>
        <a:srgbClr val="FFC80C"/>
      </a:accent1>
      <a:accent2>
        <a:srgbClr val="00AED7"/>
      </a:accent2>
      <a:accent3>
        <a:srgbClr val="A3D769"/>
      </a:accent3>
      <a:accent4>
        <a:srgbClr val="FEFFFF"/>
      </a:accent4>
      <a:accent5>
        <a:srgbClr val="001432"/>
      </a:accent5>
      <a:accent6>
        <a:srgbClr val="001432"/>
      </a:accent6>
      <a:hlink>
        <a:srgbClr val="0563C1"/>
      </a:hlink>
      <a:folHlink>
        <a:srgbClr val="FFC80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mfindungsevents_Vorlage_Nov 22" id="{6BF04B8E-E545-456D-8C5F-128A6E7D8C3D}" vid="{37944432-ADFD-4989-938B-DA118DF2533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07</Words>
  <Application>Microsoft Office PowerPoint</Application>
  <PresentationFormat>Benutzerdefiniert</PresentationFormat>
  <Paragraphs>99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7" baseType="lpstr">
      <vt:lpstr>DM Sans 1</vt:lpstr>
      <vt:lpstr>DM Sans 2 Bold</vt:lpstr>
      <vt:lpstr>Wingdings</vt:lpstr>
      <vt:lpstr>Open Sans Bold</vt:lpstr>
      <vt:lpstr>Symbol</vt:lpstr>
      <vt:lpstr>DM Sans 2</vt:lpstr>
      <vt:lpstr>Arial</vt:lpstr>
      <vt:lpstr>Calibri</vt:lpstr>
      <vt:lpstr>Office Theme</vt:lpstr>
      <vt:lpstr>5_Office</vt:lpstr>
      <vt:lpstr>think-cell Folie</vt:lpstr>
      <vt:lpstr>LocalZero Top-Maßnahmen Abfallwirtschaft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. Entwurf_PP Top-Maßnahmen</dc:title>
  <cp:lastModifiedBy>Pauline Höchter</cp:lastModifiedBy>
  <cp:revision>3</cp:revision>
  <dcterms:created xsi:type="dcterms:W3CDTF">2006-08-16T00:00:00Z</dcterms:created>
  <dcterms:modified xsi:type="dcterms:W3CDTF">2024-09-26T13:45:26Z</dcterms:modified>
  <dc:identifier>DAGMa3UTT6E</dc:identifier>
</cp:coreProperties>
</file>